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344" r:id="rId3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14" autoAdjust="0"/>
  </p:normalViewPr>
  <p:slideViewPr>
    <p:cSldViewPr showGuides="1">
      <p:cViewPr varScale="1">
        <p:scale>
          <a:sx n="67" d="100"/>
          <a:sy n="67" d="100"/>
        </p:scale>
        <p:origin x="1786" y="67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30/08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30/08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.mineHash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1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653522" y="1627248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073140" y="1166514"/>
            <a:ext cx="23711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Tarefa Identificada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4918037" y="1044326"/>
            <a:ext cx="3198311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Ideias e Soluções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415145" y="1044326"/>
            <a:ext cx="29409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Benefícios para Negócio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539987" y="1848306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ificuldades em formar Pools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362637" y="3072038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Custos altos com mineração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683513" y="1848307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onitoramento de mineração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683513" y="3072039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centivo ao investimento na criptomoeda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367906" y="4989505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vestidores 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65103" y="4997214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ineradores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045395" y="1950675"/>
            <a:ext cx="1947349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ipulação de dados 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184720" y="1950675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mpliar a comunidade mineradora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174675" y="4862642"/>
            <a:ext cx="1789092" cy="873217"/>
          </a:xfrm>
          <a:prstGeom prst="rect">
            <a:avLst/>
          </a:prstGeom>
          <a:solidFill>
            <a:srgbClr val="00D22E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egurança ao minerador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id="{2D44FDF8-805B-4552-B1AE-60198E08B07D}"/>
              </a:ext>
            </a:extLst>
          </p:cNvPr>
          <p:cNvSpPr txBox="1"/>
          <p:nvPr/>
        </p:nvSpPr>
        <p:spPr>
          <a:xfrm>
            <a:off x="9493310" y="4318246"/>
            <a:ext cx="29409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Benefícios para Cliente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5F570210-B48B-4D49-A129-FC71DA8F8989}"/>
              </a:ext>
            </a:extLst>
          </p:cNvPr>
          <p:cNvSpPr txBox="1"/>
          <p:nvPr/>
        </p:nvSpPr>
        <p:spPr>
          <a:xfrm>
            <a:off x="989896" y="4397561"/>
            <a:ext cx="24128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Clientes e Usuários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173E3CDC-9522-48A9-96B8-8245E4E22DE0}"/>
              </a:ext>
            </a:extLst>
          </p:cNvPr>
          <p:cNvSpPr/>
          <p:nvPr/>
        </p:nvSpPr>
        <p:spPr>
          <a:xfrm>
            <a:off x="5686344" y="4263863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plicação de </a:t>
            </a:r>
            <a:r>
              <a:rPr lang="pt-BR" sz="1544" dirty="0" err="1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nalytics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4ECF1DAB-4058-4850-B504-211B79E24011}"/>
              </a:ext>
            </a:extLst>
          </p:cNvPr>
          <p:cNvSpPr/>
          <p:nvPr/>
        </p:nvSpPr>
        <p:spPr>
          <a:xfrm>
            <a:off x="5701185" y="5537418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eedback ao usuário</a:t>
            </a: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368534B7-DB0B-4876-8027-4FDE1ED2C74E}"/>
              </a:ext>
            </a:extLst>
          </p:cNvPr>
          <p:cNvSpPr/>
          <p:nvPr/>
        </p:nvSpPr>
        <p:spPr>
          <a:xfrm>
            <a:off x="10106171" y="3117515"/>
            <a:ext cx="2241885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elhoria na interação Investidor/Minerador</a:t>
            </a: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2A4BE17C-C178-472A-9845-E41905B09AD4}"/>
              </a:ext>
            </a:extLst>
          </p:cNvPr>
          <p:cNvSpPr/>
          <p:nvPr/>
        </p:nvSpPr>
        <p:spPr>
          <a:xfrm>
            <a:off x="11184720" y="4880061"/>
            <a:ext cx="1789092" cy="873217"/>
          </a:xfrm>
          <a:prstGeom prst="rect">
            <a:avLst/>
          </a:prstGeom>
          <a:solidFill>
            <a:srgbClr val="00D22E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eço justo e viável</a:t>
            </a: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C1412E90-754B-4EB8-AA44-BD5386416208}"/>
              </a:ext>
            </a:extLst>
          </p:cNvPr>
          <p:cNvSpPr/>
          <p:nvPr/>
        </p:nvSpPr>
        <p:spPr>
          <a:xfrm>
            <a:off x="10224880" y="6029482"/>
            <a:ext cx="1789092" cy="873217"/>
          </a:xfrm>
          <a:prstGeom prst="rect">
            <a:avLst/>
          </a:prstGeom>
          <a:solidFill>
            <a:srgbClr val="00D22E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cebimento de dados em tempo real</a:t>
            </a: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B7EE90D9-C424-44EE-91CF-D4462547D358}"/>
              </a:ext>
            </a:extLst>
          </p:cNvPr>
          <p:cNvSpPr/>
          <p:nvPr/>
        </p:nvSpPr>
        <p:spPr>
          <a:xfrm>
            <a:off x="156217" y="1848306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Baixo incentivo a criptomoeda</a:t>
            </a:r>
          </a:p>
        </p:txBody>
      </p:sp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95</TotalTime>
  <Words>73</Words>
  <Application>Microsoft Office PowerPoint</Application>
  <PresentationFormat>Personalizar</PresentationFormat>
  <Paragraphs>23</Paragraphs>
  <Slides>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10" baseType="lpstr">
      <vt:lpstr>Arial</vt:lpstr>
      <vt:lpstr>Calibri</vt:lpstr>
      <vt:lpstr>Exo 2</vt:lpstr>
      <vt:lpstr>MV Boli</vt:lpstr>
      <vt:lpstr>Simplon BP Medium</vt:lpstr>
      <vt:lpstr>Simplon BP Regular</vt:lpstr>
      <vt:lpstr>Conteúdo</vt:lpstr>
      <vt:lpstr>Encerramento / Agradecimento</vt:lpstr>
      <vt:lpstr>Slide do think-cell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 </cp:lastModifiedBy>
  <cp:revision>193</cp:revision>
  <dcterms:created xsi:type="dcterms:W3CDTF">2016-12-01T16:19:35Z</dcterms:created>
  <dcterms:modified xsi:type="dcterms:W3CDTF">2019-08-30T22:22:15Z</dcterms:modified>
</cp:coreProperties>
</file>